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6"/>
  </p:notesMasterIdLst>
  <p:sldIdLst>
    <p:sldId id="307" r:id="rId3"/>
    <p:sldId id="308" r:id="rId4"/>
    <p:sldId id="332" r:id="rId5"/>
    <p:sldId id="258" r:id="rId6"/>
    <p:sldId id="337" r:id="rId7"/>
    <p:sldId id="301" r:id="rId8"/>
    <p:sldId id="327" r:id="rId9"/>
    <p:sldId id="275" r:id="rId10"/>
    <p:sldId id="306" r:id="rId11"/>
    <p:sldId id="328" r:id="rId12"/>
    <p:sldId id="338" r:id="rId13"/>
    <p:sldId id="330" r:id="rId14"/>
    <p:sldId id="331" r:id="rId15"/>
    <p:sldId id="333" r:id="rId16"/>
    <p:sldId id="267" r:id="rId17"/>
    <p:sldId id="336" r:id="rId18"/>
    <p:sldId id="335" r:id="rId19"/>
    <p:sldId id="309" r:id="rId20"/>
    <p:sldId id="322" r:id="rId21"/>
    <p:sldId id="323" r:id="rId22"/>
    <p:sldId id="329" r:id="rId23"/>
    <p:sldId id="325" r:id="rId24"/>
    <p:sldId id="318" r:id="rId2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56" autoAdjust="0"/>
    <p:restoredTop sz="94434" autoAdjust="0"/>
  </p:normalViewPr>
  <p:slideViewPr>
    <p:cSldViewPr>
      <p:cViewPr varScale="1">
        <p:scale>
          <a:sx n="70" d="100"/>
          <a:sy n="70" d="100"/>
        </p:scale>
        <p:origin x="1368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User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Request to add personal details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View mini statement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r>
            <a:rPr lang="en-IN" dirty="0" smtClean="0"/>
            <a:t>Request for Check book</a:t>
          </a:r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r>
            <a:rPr lang="en-IN" dirty="0" smtClean="0"/>
            <a:t>Fund Transfer</a:t>
          </a:r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374760DF-DB23-4CA2-8759-86847150A20D}">
      <dgm:prSet phldrT="[Text]"/>
      <dgm:spPr/>
      <dgm:t>
        <a:bodyPr/>
        <a:lstStyle/>
        <a:p>
          <a:r>
            <a:rPr lang="en-IN" dirty="0" smtClean="0"/>
            <a:t>Track Service Request</a:t>
          </a:r>
          <a:endParaRPr lang="en-IN" dirty="0"/>
        </a:p>
      </dgm:t>
    </dgm:pt>
    <dgm:pt modelId="{82F82485-D9D4-4AC9-A44B-051857860A87}" type="parTrans" cxnId="{F92A70C9-E938-482F-9FD4-AB714F773723}">
      <dgm:prSet/>
      <dgm:spPr/>
      <dgm:t>
        <a:bodyPr/>
        <a:lstStyle/>
        <a:p>
          <a:endParaRPr lang="en-US"/>
        </a:p>
      </dgm:t>
    </dgm:pt>
    <dgm:pt modelId="{B3AB6E22-FF71-41B9-8C91-C9A7C776B80E}" type="sibTrans" cxnId="{F92A70C9-E938-482F-9FD4-AB714F773723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2655" custLinFactNeighborY="-7152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5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5" custRadScaleRad="93958" custRadScaleInc="600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5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5" custRadScaleRad="152066" custRadScaleInc="1070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351C695-285C-48C7-B152-A664EB02542B}" type="pres">
      <dgm:prSet presAssocID="{D9E2EB92-0DA5-4648-A69C-26B82C1D0905}" presName="parTrans" presStyleLbl="bgSibTrans2D1" presStyleIdx="2" presStyleCnt="5"/>
      <dgm:spPr/>
      <dgm:t>
        <a:bodyPr/>
        <a:lstStyle/>
        <a:p>
          <a:endParaRPr lang="en-US"/>
        </a:p>
      </dgm:t>
    </dgm:pt>
    <dgm:pt modelId="{070E8865-E939-402B-ACC1-7E492C9F957C}" type="pres">
      <dgm:prSet presAssocID="{C84695D3-AE9A-4501-A621-669274CEC8DD}" presName="node" presStyleLbl="node1" presStyleIdx="2" presStyleCnt="5" custRadScaleRad="20351" custRadScaleInc="-406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41A354-717E-4289-9885-C2E2F256F905}" type="pres">
      <dgm:prSet presAssocID="{D363C5A8-91EB-4D75-8DC9-29E46A5D4A7F}" presName="parTrans" presStyleLbl="bgSibTrans2D1" presStyleIdx="3" presStyleCnt="5"/>
      <dgm:spPr/>
      <dgm:t>
        <a:bodyPr/>
        <a:lstStyle/>
        <a:p>
          <a:endParaRPr lang="en-US"/>
        </a:p>
      </dgm:t>
    </dgm:pt>
    <dgm:pt modelId="{306ED78B-8318-45B9-BA8A-B7670E799923}" type="pres">
      <dgm:prSet presAssocID="{5EE888C5-C142-4F81-927B-B90721C1F3E4}" presName="node" presStyleLbl="node1" presStyleIdx="3" presStyleCnt="5" custRadScaleRad="141940" custRadScaleInc="-115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828057-5F65-4707-A76C-46A6588FAB93}" type="pres">
      <dgm:prSet presAssocID="{82F82485-D9D4-4AC9-A44B-051857860A87}" presName="parTrans" presStyleLbl="bgSibTrans2D1" presStyleIdx="4" presStyleCnt="5"/>
      <dgm:spPr/>
      <dgm:t>
        <a:bodyPr/>
        <a:lstStyle/>
        <a:p>
          <a:endParaRPr lang="en-US"/>
        </a:p>
      </dgm:t>
    </dgm:pt>
    <dgm:pt modelId="{36349CBE-CB7C-48FD-83C3-D60F2DB8658D}" type="pres">
      <dgm:prSet presAssocID="{374760DF-DB23-4CA2-8759-86847150A20D}" presName="node" presStyleLbl="node1" presStyleIdx="4" presStyleCnt="5" custRadScaleRad="89561" custRadScaleInc="-442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925DCAA9-FF2A-4B96-84FA-DD9EDD8938C8}" type="presOf" srcId="{C84695D3-AE9A-4501-A621-669274CEC8DD}" destId="{070E8865-E939-402B-ACC1-7E492C9F957C}" srcOrd="0" destOrd="0" presId="urn:microsoft.com/office/officeart/2005/8/layout/radial4"/>
    <dgm:cxn modelId="{F92A70C9-E938-482F-9FD4-AB714F773723}" srcId="{5A7729A2-75B9-4FBC-8844-90F76B1D8C7E}" destId="{374760DF-DB23-4CA2-8759-86847150A20D}" srcOrd="4" destOrd="0" parTransId="{82F82485-D9D4-4AC9-A44B-051857860A87}" sibTransId="{B3AB6E22-FF71-41B9-8C91-C9A7C776B80E}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E03982C5-3BDB-497A-BCA3-2DC08723031D}" srcId="{5A7729A2-75B9-4FBC-8844-90F76B1D8C7E}" destId="{5EE888C5-C142-4F81-927B-B90721C1F3E4}" srcOrd="3" destOrd="0" parTransId="{D363C5A8-91EB-4D75-8DC9-29E46A5D4A7F}" sibTransId="{0DA8AB2B-BB27-4A16-BCAC-A04684A9C39F}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AA674CAA-4A77-4B0A-89CC-62F4264C0214}" type="presOf" srcId="{5EE888C5-C142-4F81-927B-B90721C1F3E4}" destId="{306ED78B-8318-45B9-BA8A-B7670E799923}" srcOrd="0" destOrd="0" presId="urn:microsoft.com/office/officeart/2005/8/layout/radial4"/>
    <dgm:cxn modelId="{52D547DD-E012-43C9-B790-71281BBA3157}" type="presOf" srcId="{D9E2EB92-0DA5-4648-A69C-26B82C1D0905}" destId="{8351C695-285C-48C7-B152-A664EB02542B}" srcOrd="0" destOrd="0" presId="urn:microsoft.com/office/officeart/2005/8/layout/radial4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2BE7AA80-146F-428B-A055-15AEF94311AE}" type="presOf" srcId="{D363C5A8-91EB-4D75-8DC9-29E46A5D4A7F}" destId="{4F41A354-717E-4289-9885-C2E2F256F905}" srcOrd="0" destOrd="0" presId="urn:microsoft.com/office/officeart/2005/8/layout/radial4"/>
    <dgm:cxn modelId="{89DC752C-7FFF-475D-BB17-F9BCB4582068}" type="presOf" srcId="{374760DF-DB23-4CA2-8759-86847150A20D}" destId="{36349CBE-CB7C-48FD-83C3-D60F2DB8658D}" srcOrd="0" destOrd="0" presId="urn:microsoft.com/office/officeart/2005/8/layout/radial4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72E41019-23BD-42FC-BD37-03E9662C2428}" srcId="{5A7729A2-75B9-4FBC-8844-90F76B1D8C7E}" destId="{C84695D3-AE9A-4501-A621-669274CEC8DD}" srcOrd="2" destOrd="0" parTransId="{D9E2EB92-0DA5-4648-A69C-26B82C1D0905}" sibTransId="{75687ADF-CBCC-429E-B8E9-43F016C33414}"/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89D05A8D-469B-4DF1-892E-FCE65BE48E0F}" type="presOf" srcId="{82F82485-D9D4-4AC9-A44B-051857860A87}" destId="{C2828057-5F65-4707-A76C-46A6588FAB93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  <dgm:cxn modelId="{EDF760F3-D1AB-45D2-BE92-6B45045B1112}" type="presParOf" srcId="{F529A9FE-3A30-478D-8FB5-0EE20CF3B2CD}" destId="{8351C695-285C-48C7-B152-A664EB02542B}" srcOrd="5" destOrd="0" presId="urn:microsoft.com/office/officeart/2005/8/layout/radial4"/>
    <dgm:cxn modelId="{AB258435-7355-4469-9FF4-BC3C582AE1DA}" type="presParOf" srcId="{F529A9FE-3A30-478D-8FB5-0EE20CF3B2CD}" destId="{070E8865-E939-402B-ACC1-7E492C9F957C}" srcOrd="6" destOrd="0" presId="urn:microsoft.com/office/officeart/2005/8/layout/radial4"/>
    <dgm:cxn modelId="{7F61768B-294E-41AA-98C2-C1B4D5228731}" type="presParOf" srcId="{F529A9FE-3A30-478D-8FB5-0EE20CF3B2CD}" destId="{4F41A354-717E-4289-9885-C2E2F256F905}" srcOrd="7" destOrd="0" presId="urn:microsoft.com/office/officeart/2005/8/layout/radial4"/>
    <dgm:cxn modelId="{824F50B3-39CB-4250-AF74-CAE22F0AC409}" type="presParOf" srcId="{F529A9FE-3A30-478D-8FB5-0EE20CF3B2CD}" destId="{306ED78B-8318-45B9-BA8A-B7670E799923}" srcOrd="8" destOrd="0" presId="urn:microsoft.com/office/officeart/2005/8/layout/radial4"/>
    <dgm:cxn modelId="{5A542D42-2172-4052-A4F1-4D23130D9D37}" type="presParOf" srcId="{F529A9FE-3A30-478D-8FB5-0EE20CF3B2CD}" destId="{C2828057-5F65-4707-A76C-46A6588FAB93}" srcOrd="9" destOrd="0" presId="urn:microsoft.com/office/officeart/2005/8/layout/radial4"/>
    <dgm:cxn modelId="{CF8B61D2-9FE0-40E2-8EB0-4DF83CAE5FC6}" type="presParOf" srcId="{F529A9FE-3A30-478D-8FB5-0EE20CF3B2CD}" destId="{36349CBE-CB7C-48FD-83C3-D60F2DB8658D}" srcOrd="1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Admin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Create new account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View overall transactions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Y="100000" custLinFactNeighborX="129" custLinFactNeighborY="-29355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RadScaleRad="80745" custRadScaleInc="-455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RadScaleRad="75917" custRadScaleInc="4592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FAC997D2-0AE4-4BF3-BE1A-2F85633313DB}" type="presOf" srcId="{D0C8E95D-CA20-4230-90CD-01C12FD442EB}" destId="{3BC5D919-0D36-4BCD-8CBA-4FD7223A2EAB}" srcOrd="0" destOrd="0" presId="urn:microsoft.com/office/officeart/2005/8/layout/radial4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B03959B4-D221-48EC-8135-B181ADEA8E24}" type="presOf" srcId="{05DB67F3-24D5-493F-B8D6-D9EFCA9C33FA}" destId="{BC821710-D8D6-44B3-AE70-1FB80AE0FF86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  <dgm:cxn modelId="{EC02CC26-1EF0-4CE5-B96A-22527EA49E88}" type="presParOf" srcId="{F529A9FE-3A30-478D-8FB5-0EE20CF3B2CD}" destId="{BC821710-D8D6-44B3-AE70-1FB80AE0FF86}" srcOrd="3" destOrd="0" presId="urn:microsoft.com/office/officeart/2005/8/layout/radial4"/>
    <dgm:cxn modelId="{2E6B6192-DA31-4917-91B7-1654151A662C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3307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53749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2215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581738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581738"/>
        <a:ext cx="1905000" cy="596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1819"/>
          <a:ext cx="1905000" cy="6260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30561" y="42380"/>
        <a:ext cx="1843878" cy="564921"/>
      </dsp:txXfrm>
    </dsp:sp>
    <dsp:sp modelId="{E5C0A0C3-950D-4232-9872-9174C1E989AA}">
      <dsp:nvSpPr>
        <dsp:cNvPr id="0" name=""/>
        <dsp:cNvSpPr/>
      </dsp:nvSpPr>
      <dsp:spPr>
        <a:xfrm>
          <a:off x="0" y="637863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Storage of information</a:t>
          </a:r>
          <a:endParaRPr lang="en-US" sz="1900" kern="1200" dirty="0"/>
        </a:p>
      </dsp:txBody>
      <dsp:txXfrm>
        <a:off x="0" y="637863"/>
        <a:ext cx="1905000" cy="5961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55272"/>
          <a:ext cx="2209800" cy="4217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Query</a:t>
          </a:r>
          <a:endParaRPr lang="en-US" sz="1700" kern="1200" dirty="0"/>
        </a:p>
      </dsp:txBody>
      <dsp:txXfrm>
        <a:off x="20589" y="275861"/>
        <a:ext cx="2168622" cy="380594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300" kern="1200" dirty="0" smtClean="0"/>
            <a:t>improvements</a:t>
          </a:r>
          <a:endParaRPr lang="en-US" sz="1300" kern="1200" dirty="0"/>
        </a:p>
      </dsp:txBody>
      <dsp:txXfrm>
        <a:off x="0" y="741046"/>
        <a:ext cx="2209800" cy="46368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76200"/>
          <a:ext cx="1905000" cy="691527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1099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811303"/>
        <a:ext cx="1905000" cy="3643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5099"/>
          <a:ext cx="1905000" cy="64260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6468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28294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7/2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ly 21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AMS_Admin_DeleteAsset.docx" TargetMode="External"/><Relationship Id="rId3" Type="http://schemas.openxmlformats.org/officeDocument/2006/relationships/hyperlink" Target="AMS_Admin_Login.docx" TargetMode="External"/><Relationship Id="rId7" Type="http://schemas.openxmlformats.org/officeDocument/2006/relationships/hyperlink" Target="AMS_Admin_ModifyAsset.docx" TargetMode="External"/><Relationship Id="rId2" Type="http://schemas.openxmlformats.org/officeDocument/2006/relationships/hyperlink" Target="AMS_ManagerLogin.docx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AMS_Admin_AddAsset.docx" TargetMode="External"/><Relationship Id="rId5" Type="http://schemas.openxmlformats.org/officeDocument/2006/relationships/hyperlink" Target="AMS_Manager_ViewRequest.docx" TargetMode="External"/><Relationship Id="rId10" Type="http://schemas.openxmlformats.org/officeDocument/2006/relationships/hyperlink" Target="AMS_Admin_Accept_Reject.docx" TargetMode="External"/><Relationship Id="rId4" Type="http://schemas.openxmlformats.org/officeDocument/2006/relationships/hyperlink" Target="AMS_Manager_RaiseRequest.docx" TargetMode="External"/><Relationship Id="rId9" Type="http://schemas.openxmlformats.org/officeDocument/2006/relationships/hyperlink" Target="AMS_Admin_ViewAsset.docx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AMS_Defects.xls" TargetMode="Externa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ndafile:8081/OnlineBankingProjectSpring/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diagramData" Target="../diagrams/data5.xml"/><Relationship Id="rId18" Type="http://schemas.openxmlformats.org/officeDocument/2006/relationships/diagramData" Target="../diagrams/data6.xml"/><Relationship Id="rId26" Type="http://schemas.openxmlformats.org/officeDocument/2006/relationships/diagramColors" Target="../diagrams/colors7.xml"/><Relationship Id="rId39" Type="http://schemas.openxmlformats.org/officeDocument/2006/relationships/diagramLayout" Target="../diagrams/layout10.xml"/><Relationship Id="rId3" Type="http://schemas.openxmlformats.org/officeDocument/2006/relationships/diagramData" Target="../diagrams/data3.xml"/><Relationship Id="rId21" Type="http://schemas.openxmlformats.org/officeDocument/2006/relationships/diagramColors" Target="../diagrams/colors6.xml"/><Relationship Id="rId34" Type="http://schemas.openxmlformats.org/officeDocument/2006/relationships/diagramLayout" Target="../diagrams/layout9.xml"/><Relationship Id="rId42" Type="http://schemas.microsoft.com/office/2007/relationships/diagramDrawing" Target="../diagrams/drawing10.xml"/><Relationship Id="rId47" Type="http://schemas.microsoft.com/office/2007/relationships/diagramDrawing" Target="../diagrams/drawing11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17" Type="http://schemas.microsoft.com/office/2007/relationships/diagramDrawing" Target="../diagrams/drawing5.xml"/><Relationship Id="rId25" Type="http://schemas.openxmlformats.org/officeDocument/2006/relationships/diagramQuickStyle" Target="../diagrams/quickStyle7.xml"/><Relationship Id="rId33" Type="http://schemas.openxmlformats.org/officeDocument/2006/relationships/diagramData" Target="../diagrams/data9.xml"/><Relationship Id="rId38" Type="http://schemas.openxmlformats.org/officeDocument/2006/relationships/diagramData" Target="../diagrams/data10.xml"/><Relationship Id="rId46" Type="http://schemas.openxmlformats.org/officeDocument/2006/relationships/diagramColors" Target="../diagrams/colors11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5.xml"/><Relationship Id="rId20" Type="http://schemas.openxmlformats.org/officeDocument/2006/relationships/diagramQuickStyle" Target="../diagrams/quickStyle6.xml"/><Relationship Id="rId29" Type="http://schemas.openxmlformats.org/officeDocument/2006/relationships/diagramLayout" Target="../diagrams/layout8.xml"/><Relationship Id="rId41" Type="http://schemas.openxmlformats.org/officeDocument/2006/relationships/diagramColors" Target="../diagrams/colors10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24" Type="http://schemas.openxmlformats.org/officeDocument/2006/relationships/diagramLayout" Target="../diagrams/layout7.xml"/><Relationship Id="rId32" Type="http://schemas.microsoft.com/office/2007/relationships/diagramDrawing" Target="../diagrams/drawing8.xml"/><Relationship Id="rId37" Type="http://schemas.microsoft.com/office/2007/relationships/diagramDrawing" Target="../diagrams/drawing9.xml"/><Relationship Id="rId40" Type="http://schemas.openxmlformats.org/officeDocument/2006/relationships/diagramQuickStyle" Target="../diagrams/quickStyle10.xml"/><Relationship Id="rId45" Type="http://schemas.openxmlformats.org/officeDocument/2006/relationships/diagramQuickStyle" Target="../diagrams/quickStyle11.xml"/><Relationship Id="rId5" Type="http://schemas.openxmlformats.org/officeDocument/2006/relationships/diagramQuickStyle" Target="../diagrams/quickStyle3.xml"/><Relationship Id="rId15" Type="http://schemas.openxmlformats.org/officeDocument/2006/relationships/diagramQuickStyle" Target="../diagrams/quickStyle5.xml"/><Relationship Id="rId23" Type="http://schemas.openxmlformats.org/officeDocument/2006/relationships/diagramData" Target="../diagrams/data7.xml"/><Relationship Id="rId28" Type="http://schemas.openxmlformats.org/officeDocument/2006/relationships/diagramData" Target="../diagrams/data8.xml"/><Relationship Id="rId36" Type="http://schemas.openxmlformats.org/officeDocument/2006/relationships/diagramColors" Target="../diagrams/colors9.xml"/><Relationship Id="rId10" Type="http://schemas.openxmlformats.org/officeDocument/2006/relationships/diagramQuickStyle" Target="../diagrams/quickStyle4.xml"/><Relationship Id="rId19" Type="http://schemas.openxmlformats.org/officeDocument/2006/relationships/diagramLayout" Target="../diagrams/layout6.xml"/><Relationship Id="rId31" Type="http://schemas.openxmlformats.org/officeDocument/2006/relationships/diagramColors" Target="../diagrams/colors8.xml"/><Relationship Id="rId44" Type="http://schemas.openxmlformats.org/officeDocument/2006/relationships/diagramLayout" Target="../diagrams/layout11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Relationship Id="rId14" Type="http://schemas.openxmlformats.org/officeDocument/2006/relationships/diagramLayout" Target="../diagrams/layout5.xml"/><Relationship Id="rId22" Type="http://schemas.microsoft.com/office/2007/relationships/diagramDrawing" Target="../diagrams/drawing6.xml"/><Relationship Id="rId27" Type="http://schemas.microsoft.com/office/2007/relationships/diagramDrawing" Target="../diagrams/drawing7.xml"/><Relationship Id="rId30" Type="http://schemas.openxmlformats.org/officeDocument/2006/relationships/diagramQuickStyle" Target="../diagrams/quickStyle8.xml"/><Relationship Id="rId35" Type="http://schemas.openxmlformats.org/officeDocument/2006/relationships/diagramQuickStyle" Target="../diagrams/quickStyle9.xml"/><Relationship Id="rId43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Online Banking System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059364"/>
          </a:xfrm>
        </p:spPr>
        <p:txBody>
          <a:bodyPr/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A</a:t>
            </a:r>
            <a:r>
              <a:rPr lang="en-US" sz="2400" b="0" dirty="0">
                <a:solidFill>
                  <a:schemeClr val="tx1"/>
                </a:solidFill>
              </a:rPr>
              <a:t> use case is a written description of how users will perform tasks on </a:t>
            </a:r>
            <a:r>
              <a:rPr lang="en-US" sz="2400" b="0" dirty="0" smtClean="0">
                <a:solidFill>
                  <a:schemeClr val="tx1"/>
                </a:solidFill>
              </a:rPr>
              <a:t> </a:t>
            </a:r>
            <a:r>
              <a:rPr lang="en-US" sz="2400" b="0" dirty="0">
                <a:solidFill>
                  <a:schemeClr val="tx1"/>
                </a:solidFill>
              </a:rPr>
              <a:t>website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 smtClean="0">
                <a:solidFill>
                  <a:schemeClr val="tx1"/>
                </a:solidFill>
              </a:rPr>
              <a:t>A </a:t>
            </a:r>
            <a:r>
              <a:rPr lang="en-US" sz="2400" b="0" dirty="0">
                <a:solidFill>
                  <a:schemeClr val="tx1"/>
                </a:solidFill>
              </a:rPr>
              <a:t>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goal are sometimes considered to be synonymous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 marL="0" indent="0">
              <a:buNone/>
            </a:pPr>
            <a:endParaRPr lang="en-US" sz="2400" b="0" dirty="0" smtClean="0">
              <a:solidFill>
                <a:srgbClr val="00B0F0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rgbClr val="00B0F0"/>
                </a:solidFill>
              </a:rPr>
              <a:t>LINK:</a:t>
            </a:r>
            <a:endParaRPr lang="en-US" sz="24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USE CASES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1" y="990600"/>
            <a:ext cx="8077200" cy="5486400"/>
          </a:xfrm>
        </p:spPr>
      </p:pic>
    </p:spTree>
    <p:extLst>
      <p:ext uri="{BB962C8B-B14F-4D97-AF65-F5344CB8AC3E}">
        <p14:creationId xmlns:p14="http://schemas.microsoft.com/office/powerpoint/2010/main" val="2609208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22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Login:</a:t>
            </a:r>
            <a:endParaRPr lang="en-US" dirty="0" smtClean="0">
              <a:solidFill>
                <a:schemeClr val="tx1"/>
              </a:solidFill>
              <a:hlinkClick r:id="rId2" action="ppaction://hlinkfile"/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Admin Login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 User </a:t>
            </a:r>
            <a:r>
              <a:rPr lang="en-US" b="0" dirty="0">
                <a:solidFill>
                  <a:schemeClr val="tx1"/>
                </a:solidFill>
                <a:hlinkClick r:id="rId3" action="ppaction://hlinkfile"/>
              </a:rPr>
              <a:t>Login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Functionalities:</a:t>
            </a: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 Manager Create account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Manager View all transactions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6" action="ppaction://hlinkfile"/>
              </a:rPr>
              <a:t>User View mini/detailed statement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7" action="ppaction://hlinkfile"/>
              </a:rPr>
              <a:t>User Request add details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8" action="ppaction://hlinkfile"/>
              </a:rPr>
              <a:t> User Request Check book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9" action="ppaction://hlinkfile"/>
              </a:rPr>
              <a:t>User track service request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10" action="ppaction://hlinkfile"/>
              </a:rPr>
              <a:t>User fund transfer</a:t>
            </a: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424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229600" cy="4525963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60000"/>
              </a:lnSpc>
            </a:pPr>
            <a:r>
              <a:rPr lang="en-US" sz="2900" b="0" dirty="0" smtClean="0">
                <a:solidFill>
                  <a:schemeClr val="tx1"/>
                </a:solidFill>
              </a:rPr>
              <a:t>A defect is an error or a bug, in the application that causes it to produce an incorrect or unexpected results. </a:t>
            </a:r>
          </a:p>
          <a:p>
            <a:pPr>
              <a:lnSpc>
                <a:spcPct val="160000"/>
              </a:lnSpc>
            </a:pPr>
            <a:r>
              <a:rPr lang="en-US" sz="2900" b="0" dirty="0" smtClean="0">
                <a:solidFill>
                  <a:schemeClr val="tx1"/>
                </a:solidFill>
              </a:rPr>
              <a:t>A programmer while designing and building the software can make mistake or error.</a:t>
            </a:r>
          </a:p>
          <a:p>
            <a:pPr>
              <a:lnSpc>
                <a:spcPct val="160000"/>
              </a:lnSpc>
            </a:pPr>
            <a:r>
              <a:rPr lang="en-US" sz="2900" b="0" dirty="0" smtClean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.</a:t>
            </a:r>
          </a:p>
          <a:p>
            <a:endParaRPr lang="en-US" sz="2900" b="0" dirty="0" smtClean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b="0" dirty="0" smtClean="0">
                <a:solidFill>
                  <a:schemeClr val="tx1"/>
                </a:solidFill>
                <a:hlinkClick r:id="rId2" action="ppaction://hlinkfile"/>
              </a:rPr>
              <a:t> Defect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Even after entering the invalid user id and password for more than three times the account is not locked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Account holder registration page is not able to navigate for adding a new account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 smtClean="0">
                <a:solidFill>
                  <a:schemeClr val="tx1"/>
                </a:solidFill>
              </a:rPr>
              <a:t>The account holder name in the registration page is accepting numerical characters.</a:t>
            </a:r>
            <a:endParaRPr lang="en-IN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</a:t>
            </a:r>
            <a:r>
              <a:rPr lang="en-US" b="0" dirty="0" smtClean="0">
                <a:solidFill>
                  <a:schemeClr val="tx1"/>
                </a:solidFill>
              </a:rPr>
              <a:t>account holder address in the registration page is accepting more than 200 characters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account holder is not able to scroll the select bar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</a:t>
            </a:r>
            <a:r>
              <a:rPr lang="en-US" b="0" dirty="0" smtClean="0">
                <a:solidFill>
                  <a:schemeClr val="tx1"/>
                </a:solidFill>
              </a:rPr>
              <a:t>opening balance entered by the account holder is accepting all characters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3900" y="1213148"/>
            <a:ext cx="76962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dmin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4221773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account holder is not able to scroll the select bar for selecting select question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account holder is able to register by clicking register button if fields are not </a:t>
            </a:r>
            <a:r>
              <a:rPr lang="en-US" b="0" dirty="0" smtClean="0">
                <a:solidFill>
                  <a:schemeClr val="tx1"/>
                </a:solidFill>
              </a:rPr>
              <a:t>entere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account holder is not able to scroll the select month bar to select the </a:t>
            </a:r>
            <a:r>
              <a:rPr lang="en-US" b="0" dirty="0" smtClean="0">
                <a:solidFill>
                  <a:schemeClr val="tx1"/>
                </a:solidFill>
              </a:rPr>
              <a:t>month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</a:t>
            </a:r>
            <a:r>
              <a:rPr lang="en-US" b="0" dirty="0">
                <a:solidFill>
                  <a:schemeClr val="tx1"/>
                </a:solidFill>
              </a:rPr>
              <a:t>account holder is not able to view the transactions by click view </a:t>
            </a:r>
            <a:r>
              <a:rPr lang="en-US" b="0" dirty="0" smtClean="0">
                <a:solidFill>
                  <a:schemeClr val="tx1"/>
                </a:solidFill>
              </a:rPr>
              <a:t>Transaction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</a:t>
            </a:r>
            <a:r>
              <a:rPr lang="en-US" b="0" dirty="0">
                <a:solidFill>
                  <a:schemeClr val="tx1"/>
                </a:solidFill>
              </a:rPr>
              <a:t>Mini/Detailed statements are not present in account holder </a:t>
            </a:r>
            <a:r>
              <a:rPr lang="en-US" b="0" dirty="0" smtClean="0">
                <a:solidFill>
                  <a:schemeClr val="tx1"/>
                </a:solidFill>
              </a:rPr>
              <a:t>pag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registration page is </a:t>
            </a:r>
            <a:r>
              <a:rPr lang="en-US" b="0" dirty="0" smtClean="0">
                <a:solidFill>
                  <a:schemeClr val="tx1"/>
                </a:solidFill>
              </a:rPr>
              <a:t>showing </a:t>
            </a:r>
            <a:r>
              <a:rPr lang="en-US" b="0" dirty="0">
                <a:solidFill>
                  <a:schemeClr val="tx1"/>
                </a:solidFill>
              </a:rPr>
              <a:t>the pan card is already existing for every new </a:t>
            </a:r>
            <a:r>
              <a:rPr lang="en-US" b="0" dirty="0" smtClean="0">
                <a:solidFill>
                  <a:schemeClr val="tx1"/>
                </a:solidFill>
              </a:rPr>
              <a:t>account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pan card is validating when it left with </a:t>
            </a:r>
            <a:r>
              <a:rPr lang="en-US" b="0" dirty="0" smtClean="0">
                <a:solidFill>
                  <a:schemeClr val="tx1"/>
                </a:solidFill>
              </a:rPr>
              <a:t>blank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7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4478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User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763640"/>
            <a:ext cx="8420099" cy="447211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409700" y="1054881"/>
            <a:ext cx="6019800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u="sng" spc="10" dirty="0" smtClean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  http</a:t>
            </a:r>
            <a:r>
              <a:rPr lang="en-US" u="sng" spc="10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://</a:t>
            </a:r>
            <a:r>
              <a:rPr lang="en-US" u="sng" spc="10" dirty="0" smtClean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ndafile:8081/OnlineBankingProjectSpring/    </a:t>
            </a:r>
            <a:r>
              <a:rPr lang="en-US" u="sng" spc="10" dirty="0" smtClean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US" spc="1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159*100)/200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79.5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R . </a:t>
            </a:r>
            <a:r>
              <a:rPr lang="en-IN" dirty="0">
                <a:solidFill>
                  <a:schemeClr val="tx1"/>
                </a:solidFill>
              </a:rPr>
              <a:t>SARU </a:t>
            </a:r>
            <a:r>
              <a:rPr lang="en-IN" dirty="0" smtClean="0">
                <a:solidFill>
                  <a:schemeClr val="tx1"/>
                </a:solidFill>
              </a:rPr>
              <a:t>LATHA</a:t>
            </a:r>
          </a:p>
          <a:p>
            <a:pPr>
              <a:lnSpc>
                <a:spcPct val="200000"/>
              </a:lnSpc>
            </a:pPr>
            <a:r>
              <a:rPr lang="en-IN" dirty="0">
                <a:solidFill>
                  <a:schemeClr val="tx1"/>
                </a:solidFill>
              </a:rPr>
              <a:t>JAHNAVI KANTHAMNENI </a:t>
            </a:r>
            <a:endParaRPr lang="en-IN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KUNCHA SWATHI</a:t>
            </a:r>
          </a:p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UDDARAJU GEETHIKA</a:t>
            </a:r>
          </a:p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VANDANAPU BHAVYA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53*100)/70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75.71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159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= 106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5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44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9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ceability Matrix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43000"/>
            <a:ext cx="8305800" cy="5181600"/>
          </a:xfr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b="0" dirty="0" smtClean="0">
                <a:solidFill>
                  <a:schemeClr val="tx1"/>
                </a:solidFill>
              </a:rPr>
              <a:t>This </a:t>
            </a:r>
            <a:r>
              <a:rPr lang="en-US" sz="2000" b="0" dirty="0">
                <a:solidFill>
                  <a:schemeClr val="tx1"/>
                </a:solidFill>
              </a:rPr>
              <a:t>project is aimed at developing an online Banking System (OBS) for Account holders and Bank admin. Online Banking allows account holders to view mini/detailed statements and do fund </a:t>
            </a:r>
            <a:r>
              <a:rPr lang="en-US" sz="2000" b="0" dirty="0" smtClean="0">
                <a:solidFill>
                  <a:schemeClr val="tx1"/>
                </a:solidFill>
              </a:rPr>
              <a:t>transfer. It </a:t>
            </a:r>
            <a:r>
              <a:rPr lang="en-US" sz="2000" b="0" dirty="0">
                <a:solidFill>
                  <a:schemeClr val="tx1"/>
                </a:solidFill>
              </a:rPr>
              <a:t>allows the bank admin to create account and view all transactions on a secure </a:t>
            </a:r>
            <a:r>
              <a:rPr lang="en-US" sz="2000" b="0" dirty="0" smtClean="0">
                <a:solidFill>
                  <a:schemeClr val="tx1"/>
                </a:solidFill>
              </a:rPr>
              <a:t>website.</a:t>
            </a:r>
            <a:endParaRPr lang="en-US" sz="2000" b="0" dirty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2000"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ACTOR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Admin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User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7330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400" b="0" dirty="0" smtClean="0">
              <a:solidFill>
                <a:schemeClr val="tx1"/>
              </a:solidFill>
            </a:endParaRPr>
          </a:p>
          <a:p>
            <a:pPr algn="just"/>
            <a:r>
              <a:rPr lang="en-US" sz="2400" b="0" dirty="0">
                <a:solidFill>
                  <a:schemeClr val="tx1"/>
                </a:solidFill>
              </a:rPr>
              <a:t>Test case </a:t>
            </a:r>
            <a:r>
              <a:rPr lang="en-US" sz="2400" b="0" dirty="0" smtClean="0">
                <a:solidFill>
                  <a:schemeClr val="tx1"/>
                </a:solidFill>
              </a:rPr>
              <a:t>is </a:t>
            </a:r>
            <a:r>
              <a:rPr lang="en-US" sz="2400" b="0" dirty="0">
                <a:solidFill>
                  <a:schemeClr val="tx1"/>
                </a:solidFill>
              </a:rPr>
              <a:t>the smallest unit of the testing </a:t>
            </a:r>
            <a:r>
              <a:rPr lang="en-US" sz="2400" b="0" dirty="0" smtClean="0">
                <a:solidFill>
                  <a:schemeClr val="tx1"/>
                </a:solidFill>
              </a:rPr>
              <a:t>plan.</a:t>
            </a:r>
          </a:p>
          <a:p>
            <a:pPr algn="just"/>
            <a:r>
              <a:rPr lang="en-US" sz="2400" b="0" dirty="0" smtClean="0">
                <a:solidFill>
                  <a:schemeClr val="tx1"/>
                </a:solidFill>
              </a:rPr>
              <a:t>Test case gives </a:t>
            </a:r>
            <a:r>
              <a:rPr lang="en-US" sz="2400" b="0" dirty="0">
                <a:solidFill>
                  <a:schemeClr val="tx1"/>
                </a:solidFill>
              </a:rPr>
              <a:t>description of necessary actions and parameters to achieve and verify the expected </a:t>
            </a:r>
            <a:r>
              <a:rPr lang="en-US" sz="2400" b="0" dirty="0" smtClean="0">
                <a:solidFill>
                  <a:schemeClr val="tx1"/>
                </a:solidFill>
              </a:rPr>
              <a:t>behavior </a:t>
            </a:r>
            <a:r>
              <a:rPr lang="en-US" sz="2400" b="0" dirty="0">
                <a:solidFill>
                  <a:schemeClr val="tx1"/>
                </a:solidFill>
              </a:rPr>
              <a:t>of a particular function or the part of the tested </a:t>
            </a:r>
            <a:r>
              <a:rPr lang="en-US" sz="2400" b="0" dirty="0" smtClean="0">
                <a:solidFill>
                  <a:schemeClr val="tx1"/>
                </a:solidFill>
              </a:rPr>
              <a:t>software.</a:t>
            </a:r>
          </a:p>
          <a:p>
            <a:pPr algn="just"/>
            <a:r>
              <a:rPr lang="en-US" sz="2400" b="0" dirty="0" smtClean="0">
                <a:solidFill>
                  <a:schemeClr val="tx1"/>
                </a:solidFill>
              </a:rPr>
              <a:t>A </a:t>
            </a:r>
            <a:r>
              <a:rPr lang="en-US" sz="2400" b="0" dirty="0">
                <a:solidFill>
                  <a:schemeClr val="tx1"/>
                </a:solidFill>
              </a:rPr>
              <a:t>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 algn="just"/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4246813602"/>
              </p:ext>
            </p:extLst>
          </p:nvPr>
        </p:nvGraphicFramePr>
        <p:xfrm>
          <a:off x="5005386" y="2276872"/>
          <a:ext cx="3681413" cy="31060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2624138" y="1688148"/>
            <a:ext cx="2171700" cy="697468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2"/>
            <a:endCxn id="11" idx="0"/>
          </p:cNvCxnSpPr>
          <p:nvPr/>
        </p:nvCxnSpPr>
        <p:spPr>
          <a:xfrm>
            <a:off x="4900612" y="1696091"/>
            <a:ext cx="1945480" cy="5807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655190669"/>
              </p:ext>
            </p:extLst>
          </p:nvPr>
        </p:nvGraphicFramePr>
        <p:xfrm>
          <a:off x="1043609" y="2445190"/>
          <a:ext cx="3096344" cy="1822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" name="Straight Arrow Connector 2"/>
          <p:cNvCxnSpPr/>
          <p:nvPr/>
        </p:nvCxnSpPr>
        <p:spPr>
          <a:xfrm flipH="1" flipV="1">
            <a:off x="3352801" y="2017594"/>
            <a:ext cx="722638" cy="8138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51</TotalTime>
  <Words>746</Words>
  <Application>Microsoft Office PowerPoint</Application>
  <PresentationFormat>On-screen Show (4:3)</PresentationFormat>
  <Paragraphs>148</Paragraphs>
  <Slides>23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35" baseType="lpstr">
      <vt:lpstr>ＭＳ Ｐゴシック</vt:lpstr>
      <vt:lpstr>Arial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                                            ACTORS</vt:lpstr>
      <vt:lpstr>PowerPoint Presentation</vt:lpstr>
      <vt:lpstr>Link :</vt:lpstr>
      <vt:lpstr>REQUIREMENT  ITEMIZATION</vt:lpstr>
      <vt:lpstr>PowerPoint Presentation</vt:lpstr>
      <vt:lpstr>USE CASES</vt:lpstr>
      <vt:lpstr>USE CASES</vt:lpstr>
      <vt:lpstr>USE CASE DIAGRAM</vt:lpstr>
      <vt:lpstr>USE CASE DIAGRAM</vt:lpstr>
      <vt:lpstr>USE CASE HYPERLINKS</vt:lpstr>
      <vt:lpstr>DFDR</vt:lpstr>
      <vt:lpstr>DEFECTS FOUND</vt:lpstr>
      <vt:lpstr>DEFECTS FOUND</vt:lpstr>
      <vt:lpstr>PowerPoint Presentation</vt:lpstr>
      <vt:lpstr>Test Case Adequacy </vt:lpstr>
      <vt:lpstr>Test Case Effectiveness</vt:lpstr>
      <vt:lpstr>Project Statistics</vt:lpstr>
      <vt:lpstr>Traceability Matrix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R, Sarulatha</cp:lastModifiedBy>
  <cp:revision>176</cp:revision>
  <dcterms:created xsi:type="dcterms:W3CDTF">2015-08-27T08:52:20Z</dcterms:created>
  <dcterms:modified xsi:type="dcterms:W3CDTF">2018-07-21T09:36:53Z</dcterms:modified>
</cp:coreProperties>
</file>